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69" r:id="rId1"/>
  </p:sldMasterIdLst>
  <p:notesMasterIdLst>
    <p:notesMasterId r:id="rId23"/>
  </p:notesMasterIdLst>
  <p:handoutMasterIdLst>
    <p:handoutMasterId r:id="rId24"/>
  </p:handoutMasterIdLst>
  <p:sldIdLst>
    <p:sldId id="325" r:id="rId2"/>
    <p:sldId id="326" r:id="rId3"/>
    <p:sldId id="343" r:id="rId4"/>
    <p:sldId id="350" r:id="rId5"/>
    <p:sldId id="344" r:id="rId6"/>
    <p:sldId id="345" r:id="rId7"/>
    <p:sldId id="347" r:id="rId8"/>
    <p:sldId id="348" r:id="rId9"/>
    <p:sldId id="349" r:id="rId10"/>
    <p:sldId id="328" r:id="rId11"/>
    <p:sldId id="329" r:id="rId12"/>
    <p:sldId id="330" r:id="rId13"/>
    <p:sldId id="331" r:id="rId14"/>
    <p:sldId id="332" r:id="rId15"/>
    <p:sldId id="351" r:id="rId16"/>
    <p:sldId id="334" r:id="rId17"/>
    <p:sldId id="337" r:id="rId18"/>
    <p:sldId id="342" r:id="rId19"/>
    <p:sldId id="341" r:id="rId20"/>
    <p:sldId id="339" r:id="rId21"/>
    <p:sldId id="340" r:id="rId22"/>
  </p:sldIdLst>
  <p:sldSz cx="12192000" cy="6858000"/>
  <p:notesSz cx="6858000" cy="9926638"/>
  <p:custDataLst>
    <p:tags r:id="rId25"/>
  </p:custDataLst>
  <p:defaultTextStyle>
    <a:defPPr>
      <a:defRPr lang="en-US"/>
    </a:defPPr>
    <a:lvl1pPr marL="0" indent="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accent1"/>
      </a:buClr>
      <a:buSzPct val="100000"/>
      <a:buFontTx/>
      <a:buNone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1pPr>
    <a:lvl2pPr marL="18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2"/>
      </a:buClr>
      <a:buSzPct val="100000"/>
      <a:buFont typeface="Wingdings" pitchFamily="2" charset="2"/>
      <a:buChar char="§"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2pPr>
    <a:lvl3pPr marL="36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1"/>
      </a:buClr>
      <a:buSzPct val="100000"/>
      <a:buFont typeface="Arial" pitchFamily="34" charset="0"/>
      <a:buChar char="–"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3pPr>
    <a:lvl4pPr marL="54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1"/>
      </a:buClr>
      <a:buSzPct val="100000"/>
      <a:buFont typeface="Arial" pitchFamily="34" charset="0"/>
      <a:buChar char="•"/>
      <a:defRPr lang="en-US" sz="1600" b="0" i="0" dirty="0" smtClean="0">
        <a:solidFill>
          <a:schemeClr val="tx1"/>
        </a:solidFill>
        <a:latin typeface="+mn-lt"/>
        <a:ea typeface="+mn-ea"/>
        <a:cs typeface="+mn-cs"/>
      </a:defRPr>
    </a:lvl4pPr>
    <a:lvl5pPr marL="720000" indent="-180000" algn="l" rtl="0" eaLnBrk="1" fontAlgn="base" hangingPunct="1">
      <a:lnSpc>
        <a:spcPct val="100000"/>
      </a:lnSpc>
      <a:spcBef>
        <a:spcPct val="31250"/>
      </a:spcBef>
      <a:spcAft>
        <a:spcPct val="0"/>
      </a:spcAft>
      <a:buClr>
        <a:schemeClr val="tx1"/>
      </a:buClr>
      <a:buSzPct val="100000"/>
      <a:buFont typeface="Arial" pitchFamily="34" charset="0"/>
      <a:buChar char="–"/>
      <a:defRPr lang="en-US" sz="1600" b="0" i="0" dirty="0">
        <a:solidFill>
          <a:schemeClr val="tx1"/>
        </a:solidFill>
        <a:latin typeface="+mn-lt"/>
        <a:ea typeface="+mn-ea"/>
        <a:cs typeface="+mn-cs"/>
      </a:defRPr>
    </a:lvl5pPr>
    <a:lvl6pPr marL="20050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6pPr>
    <a:lvl7pPr marL="24622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7pPr>
    <a:lvl8pPr marL="29194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8pPr>
    <a:lvl9pPr marL="3376613" indent="-173038" algn="l" rtl="0" eaLnBrk="1" fontAlgn="base" hangingPunct="1">
      <a:spcBef>
        <a:spcPct val="30000"/>
      </a:spcBef>
      <a:spcAft>
        <a:spcPct val="10000"/>
      </a:spcAft>
      <a:buClr>
        <a:schemeClr val="tx1"/>
      </a:buClr>
      <a:buFont typeface="Times" pitchFamily="26" charset="0"/>
      <a:buChar char="•"/>
      <a:defRPr sz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 userDrawn="1">
          <p15:clr>
            <a:srgbClr val="A4A3A4"/>
          </p15:clr>
        </p15:guide>
        <p15:guide id="2" orient="horz" pos="890" userDrawn="1">
          <p15:clr>
            <a:srgbClr val="A4A3A4"/>
          </p15:clr>
        </p15:guide>
        <p15:guide id="3" orient="horz" pos="3758" userDrawn="1">
          <p15:clr>
            <a:srgbClr val="A4A3A4"/>
          </p15:clr>
        </p15:guide>
        <p15:guide id="4" pos="310" userDrawn="1">
          <p15:clr>
            <a:srgbClr val="A4A3A4"/>
          </p15:clr>
        </p15:guide>
        <p15:guide id="5" pos="7385" userDrawn="1">
          <p15:clr>
            <a:srgbClr val="A4A3A4"/>
          </p15:clr>
        </p15:guide>
        <p15:guide id="6" pos="13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6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000000"/>
    <a:srgbClr val="E4E4E4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 autoAdjust="0"/>
  </p:normalViewPr>
  <p:slideViewPr>
    <p:cSldViewPr snapToObjects="1" showGuides="1">
      <p:cViewPr varScale="1">
        <p:scale>
          <a:sx n="88" d="100"/>
          <a:sy n="88" d="100"/>
        </p:scale>
        <p:origin x="576" y="96"/>
      </p:cViewPr>
      <p:guideLst>
        <p:guide orient="horz" pos="672"/>
        <p:guide orient="horz" pos="890"/>
        <p:guide orient="horz" pos="3758"/>
        <p:guide pos="310"/>
        <p:guide pos="7385"/>
        <p:guide pos="13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Objects="1" showGuides="1">
      <p:cViewPr varScale="1">
        <p:scale>
          <a:sx n="84" d="100"/>
          <a:sy n="84" d="100"/>
        </p:scale>
        <p:origin x="-3804" y="-72"/>
      </p:cViewPr>
      <p:guideLst>
        <p:guide orient="horz" pos="2880"/>
        <p:guide pos="2160"/>
        <p:guide orient="horz" pos="3127"/>
        <p:guide pos="216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23663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15154"/>
            <a:ext cx="5486400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290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0"/>
      </a:spcBef>
      <a:spcAft>
        <a:spcPts val="600"/>
      </a:spcAft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38138" indent="-112713" algn="l" defTabSz="914400" rtl="0" eaLnBrk="1" latinLnBrk="0" hangingPunct="1">
      <a:spcBef>
        <a:spcPts val="0"/>
      </a:spcBef>
      <a:spcAft>
        <a:spcPts val="600"/>
      </a:spcAft>
      <a:buFont typeface="Arial" pitchFamily="34" charset="0"/>
      <a:buChar char="•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519113" indent="-125413" algn="l" defTabSz="914400" rtl="0" eaLnBrk="1" latinLnBrk="0" hangingPunct="1">
      <a:spcBef>
        <a:spcPts val="0"/>
      </a:spcBef>
      <a:spcAft>
        <a:spcPts val="600"/>
      </a:spcAft>
      <a:buFont typeface="Arial" pitchFamily="34" charset="0"/>
      <a:buChar char="−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693738" indent="-117475" algn="l" defTabSz="914400" rtl="0" eaLnBrk="1" latinLnBrk="0" hangingPunct="1">
      <a:spcBef>
        <a:spcPts val="0"/>
      </a:spcBef>
      <a:spcAft>
        <a:spcPts val="600"/>
      </a:spcAft>
      <a:buFont typeface="Courier New" pitchFamily="49" charset="0"/>
      <a:buChar char="o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857250" indent="-112713" algn="l" defTabSz="914400" rtl="0" eaLnBrk="1" latinLnBrk="0" hangingPunct="1">
      <a:spcBef>
        <a:spcPts val="0"/>
      </a:spcBef>
      <a:spcAft>
        <a:spcPts val="600"/>
      </a:spcAft>
      <a:buFont typeface="Arial" pitchFamily="34" charset="0"/>
      <a:buChar char="•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981075"/>
            <a:ext cx="12240684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7400" indent="-228600" defTabSz="4572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n-GB" altLang="fr-FR" sz="2215" kern="1200" dirty="0" smtClean="0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855" y="258769"/>
            <a:ext cx="1915583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5689600" y="6659563"/>
            <a:ext cx="814917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62737" fontAlgn="auto"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GB" sz="2215" kern="1200" dirty="0">
              <a:solidFill>
                <a:srgbClr val="FFFFFF"/>
              </a:solidFill>
              <a:sym typeface="Gill Sans" charset="0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327650" y="2565406"/>
            <a:ext cx="6720416" cy="790575"/>
          </a:xfrm>
          <a:prstGeom prst="rect">
            <a:avLst/>
          </a:prstGeom>
        </p:spPr>
        <p:txBody>
          <a:bodyPr/>
          <a:lstStyle>
            <a:lvl1pPr marL="3908">
              <a:defRPr sz="9354">
                <a:solidFill>
                  <a:srgbClr val="FFD624"/>
                </a:solidFill>
              </a:defRPr>
            </a:lvl1pPr>
          </a:lstStyle>
          <a:p>
            <a:pPr lvl="0"/>
            <a:r>
              <a:rPr lang="en-GB" altLang="fr-FR" noProof="0" dirty="0" smtClean="0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814917" y="3716344"/>
            <a:ext cx="11377083" cy="17287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692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fr-FR" noProof="0" dirty="0" smtClean="0"/>
              <a:t>Click to edit Master subtitle style</a:t>
            </a:r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 sz="1477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fld id="{78EEDD75-88BC-4436-93CA-49CE1DA40F25}" type="slidenum">
              <a:rPr lang="en-GB" altLang="fr-FR">
                <a:solidFill>
                  <a:srgbClr val="FFFFFF"/>
                </a:solidFill>
              </a:rPr>
              <a:pPr/>
              <a:t>‹#›</a:t>
            </a:fld>
            <a:endParaRPr lang="en-GB" alt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428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492381"/>
            <a:ext cx="10972800" cy="35290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44F876B-9E3B-4724-A56B-C690C78614CF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206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20151" y="1339850"/>
            <a:ext cx="2762250" cy="4681538"/>
          </a:xfrm>
          <a:prstGeom prst="rect">
            <a:avLst/>
          </a:prstGeom>
        </p:spPr>
        <p:txBody>
          <a:bodyPr vert="eaVert"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7051" y="1339850"/>
            <a:ext cx="8089900" cy="46815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3214622C-8776-45F9-B191-49F33FB9FA6D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371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492381"/>
            <a:ext cx="10972800" cy="35290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6AB10BA-40BC-49D9-8313-BE9ACC7EDE04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737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923" b="1" cap="all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62"/>
            </a:lvl1pPr>
            <a:lvl2pPr marL="562737" indent="0">
              <a:buNone/>
              <a:defRPr sz="2215"/>
            </a:lvl2pPr>
            <a:lvl3pPr marL="1125472" indent="0">
              <a:buNone/>
              <a:defRPr sz="1969"/>
            </a:lvl3pPr>
            <a:lvl4pPr marL="1688207" indent="0">
              <a:buNone/>
              <a:defRPr sz="1723"/>
            </a:lvl4pPr>
            <a:lvl5pPr marL="2250944" indent="0">
              <a:buNone/>
              <a:defRPr sz="1723"/>
            </a:lvl5pPr>
            <a:lvl6pPr marL="2813679" indent="0">
              <a:buNone/>
              <a:defRPr sz="1723"/>
            </a:lvl6pPr>
            <a:lvl7pPr marL="3376415" indent="0">
              <a:buNone/>
              <a:defRPr sz="1723"/>
            </a:lvl7pPr>
            <a:lvl8pPr marL="3939151" indent="0">
              <a:buNone/>
              <a:defRPr sz="1723"/>
            </a:lvl8pPr>
            <a:lvl9pPr marL="4501886" indent="0">
              <a:buNone/>
              <a:defRPr sz="1723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6F51819C-5597-4D30-A0BD-468FF57FD223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571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492381"/>
            <a:ext cx="5384800" cy="352901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492381"/>
            <a:ext cx="5384800" cy="352901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59263F2F-EEF0-4BD0-ACAD-381A9D2B12E5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784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37" indent="0">
              <a:buNone/>
              <a:defRPr sz="2462" b="1"/>
            </a:lvl2pPr>
            <a:lvl3pPr marL="1125472" indent="0">
              <a:buNone/>
              <a:defRPr sz="2215" b="1"/>
            </a:lvl3pPr>
            <a:lvl4pPr marL="1688207" indent="0">
              <a:buNone/>
              <a:defRPr sz="1969" b="1"/>
            </a:lvl4pPr>
            <a:lvl5pPr marL="2250944" indent="0">
              <a:buNone/>
              <a:defRPr sz="1969" b="1"/>
            </a:lvl5pPr>
            <a:lvl6pPr marL="2813679" indent="0">
              <a:buNone/>
              <a:defRPr sz="1969" b="1"/>
            </a:lvl6pPr>
            <a:lvl7pPr marL="3376415" indent="0">
              <a:buNone/>
              <a:defRPr sz="1969" b="1"/>
            </a:lvl7pPr>
            <a:lvl8pPr marL="3939151" indent="0">
              <a:buNone/>
              <a:defRPr sz="1969" b="1"/>
            </a:lvl8pPr>
            <a:lvl9pPr marL="4501886" indent="0">
              <a:buNone/>
              <a:defRPr sz="1969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37" indent="0">
              <a:buNone/>
              <a:defRPr sz="2462" b="1"/>
            </a:lvl2pPr>
            <a:lvl3pPr marL="1125472" indent="0">
              <a:buNone/>
              <a:defRPr sz="2215" b="1"/>
            </a:lvl3pPr>
            <a:lvl4pPr marL="1688207" indent="0">
              <a:buNone/>
              <a:defRPr sz="1969" b="1"/>
            </a:lvl4pPr>
            <a:lvl5pPr marL="2250944" indent="0">
              <a:buNone/>
              <a:defRPr sz="1969" b="1"/>
            </a:lvl5pPr>
            <a:lvl6pPr marL="2813679" indent="0">
              <a:buNone/>
              <a:defRPr sz="1969" b="1"/>
            </a:lvl6pPr>
            <a:lvl7pPr marL="3376415" indent="0">
              <a:buNone/>
              <a:defRPr sz="1969" b="1"/>
            </a:lvl7pPr>
            <a:lvl8pPr marL="3939151" indent="0">
              <a:buNone/>
              <a:defRPr sz="1969" b="1"/>
            </a:lvl8pPr>
            <a:lvl9pPr marL="4501886" indent="0">
              <a:buNone/>
              <a:defRPr sz="1969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6F868A78-9FE8-4CA1-AF1B-109667539968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756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CC9EC7C5-120D-4112-82B5-D23F1382BB6D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155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B277D5AD-C6FB-4DEE-870E-E95E110A4D89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751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6"/>
            <a:ext cx="6815666" cy="5853113"/>
          </a:xfrm>
          <a:prstGeom prst="rect">
            <a:avLst/>
          </a:prstGeo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37" indent="0">
              <a:buNone/>
              <a:defRPr sz="1477"/>
            </a:lvl2pPr>
            <a:lvl3pPr marL="1125472" indent="0">
              <a:buNone/>
              <a:defRPr sz="1231"/>
            </a:lvl3pPr>
            <a:lvl4pPr marL="1688207" indent="0">
              <a:buNone/>
              <a:defRPr sz="1108"/>
            </a:lvl4pPr>
            <a:lvl5pPr marL="2250944" indent="0">
              <a:buNone/>
              <a:defRPr sz="1108"/>
            </a:lvl5pPr>
            <a:lvl6pPr marL="2813679" indent="0">
              <a:buNone/>
              <a:defRPr sz="1108"/>
            </a:lvl6pPr>
            <a:lvl7pPr marL="3376415" indent="0">
              <a:buNone/>
              <a:defRPr sz="1108"/>
            </a:lvl7pPr>
            <a:lvl8pPr marL="3939151" indent="0">
              <a:buNone/>
              <a:defRPr sz="1108"/>
            </a:lvl8pPr>
            <a:lvl9pPr marL="4501886" indent="0">
              <a:buNone/>
              <a:defRPr sz="1108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19606702-55ED-48C4-8FC3-E0F8612D80A1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732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39"/>
            </a:lvl1pPr>
            <a:lvl2pPr marL="562737" indent="0">
              <a:buNone/>
              <a:defRPr sz="3446"/>
            </a:lvl2pPr>
            <a:lvl3pPr marL="1125472" indent="0">
              <a:buNone/>
              <a:defRPr sz="2954"/>
            </a:lvl3pPr>
            <a:lvl4pPr marL="1688207" indent="0">
              <a:buNone/>
              <a:defRPr sz="2462"/>
            </a:lvl4pPr>
            <a:lvl5pPr marL="2250944" indent="0">
              <a:buNone/>
              <a:defRPr sz="2462"/>
            </a:lvl5pPr>
            <a:lvl6pPr marL="2813679" indent="0">
              <a:buNone/>
              <a:defRPr sz="2462"/>
            </a:lvl6pPr>
            <a:lvl7pPr marL="3376415" indent="0">
              <a:buNone/>
              <a:defRPr sz="2462"/>
            </a:lvl7pPr>
            <a:lvl8pPr marL="3939151" indent="0">
              <a:buNone/>
              <a:defRPr sz="2462"/>
            </a:lvl8pPr>
            <a:lvl9pPr marL="4501886" indent="0">
              <a:buNone/>
              <a:defRPr sz="2462"/>
            </a:lvl9pPr>
          </a:lstStyle>
          <a:p>
            <a:pPr lvl="0"/>
            <a:r>
              <a:rPr lang="en-GB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37" indent="0">
              <a:buNone/>
              <a:defRPr sz="1477"/>
            </a:lvl2pPr>
            <a:lvl3pPr marL="1125472" indent="0">
              <a:buNone/>
              <a:defRPr sz="1231"/>
            </a:lvl3pPr>
            <a:lvl4pPr marL="1688207" indent="0">
              <a:buNone/>
              <a:defRPr sz="1108"/>
            </a:lvl4pPr>
            <a:lvl5pPr marL="2250944" indent="0">
              <a:buNone/>
              <a:defRPr sz="1108"/>
            </a:lvl5pPr>
            <a:lvl6pPr marL="2813679" indent="0">
              <a:buNone/>
              <a:defRPr sz="1108"/>
            </a:lvl6pPr>
            <a:lvl7pPr marL="3376415" indent="0">
              <a:buNone/>
              <a:defRPr sz="1108"/>
            </a:lvl7pPr>
            <a:lvl8pPr marL="3939151" indent="0">
              <a:buNone/>
              <a:defRPr sz="1108"/>
            </a:lvl8pPr>
            <a:lvl9pPr marL="4501886" indent="0">
              <a:buNone/>
              <a:defRPr sz="1108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fr-FR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A3B1722-3C46-44A8-BCDA-06D1B0A0D2D4}" type="slidenum">
              <a:rPr lang="en-GB" altLang="fr-FR">
                <a:solidFill>
                  <a:srgbClr val="000000"/>
                </a:solidFill>
              </a:rPr>
              <a:pPr/>
              <a:t>‹#›</a:t>
            </a:fld>
            <a:endParaRPr lang="en-GB" alt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8599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88178881"/>
              </p:ext>
            </p:ext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4237" y="3181"/>
            <a:ext cx="12187763" cy="685481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09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hf sldNum="0" hdr="0" ftr="0" dt="0"/>
  <p:txStyles>
    <p:titleStyle>
      <a:lvl1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+mj-lt"/>
          <a:ea typeface="+mj-ea"/>
          <a:cs typeface="+mj-cs"/>
        </a:defRPr>
      </a:lvl1pPr>
      <a:lvl2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2pPr>
      <a:lvl3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3pPr>
      <a:lvl4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4pPr>
      <a:lvl5pPr marL="441591" indent="-441591" algn="l" rtl="0" eaLnBrk="0" fontAlgn="base" hangingPunct="0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5pPr>
      <a:lvl6pPr marL="1004327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6pPr>
      <a:lvl7pPr marL="1567063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7pPr>
      <a:lvl8pPr marL="2129800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8pPr>
      <a:lvl9pPr marL="2692534" algn="l" rtl="0" eaLnBrk="1" fontAlgn="base" hangingPunct="1">
        <a:spcBef>
          <a:spcPct val="0"/>
        </a:spcBef>
        <a:spcAft>
          <a:spcPct val="0"/>
        </a:spcAft>
        <a:defRPr sz="3692" b="1">
          <a:solidFill>
            <a:srgbClr val="0F5494"/>
          </a:solidFill>
          <a:latin typeface="Verdana" pitchFamily="34" charset="0"/>
        </a:defRPr>
      </a:lvl9pPr>
    </p:titleStyle>
    <p:bodyStyle>
      <a:lvl1pPr marL="422051" indent="-422051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954" i="1">
          <a:solidFill>
            <a:srgbClr val="0F5494"/>
          </a:solidFill>
          <a:latin typeface="+mn-lt"/>
          <a:ea typeface="+mn-ea"/>
          <a:cs typeface="+mn-cs"/>
        </a:defRPr>
      </a:lvl1pPr>
      <a:lvl2pPr marL="914446" indent="-35171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462" b="1">
          <a:solidFill>
            <a:srgbClr val="0F5494"/>
          </a:solidFill>
          <a:latin typeface="+mn-lt"/>
        </a:defRPr>
      </a:lvl2pPr>
      <a:lvl3pPr marL="1406839" indent="-281368" algn="l" rtl="0" eaLnBrk="0" fontAlgn="base" hangingPunct="0">
        <a:spcBef>
          <a:spcPct val="20000"/>
        </a:spcBef>
        <a:spcAft>
          <a:spcPct val="0"/>
        </a:spcAft>
        <a:defRPr sz="1723">
          <a:solidFill>
            <a:srgbClr val="0F5494"/>
          </a:solidFill>
          <a:latin typeface="+mn-lt"/>
        </a:defRPr>
      </a:lvl3pPr>
      <a:lvl4pPr marL="1969575" indent="-281368" algn="l" rtl="0" eaLnBrk="0" fontAlgn="base" hangingPunct="0">
        <a:spcBef>
          <a:spcPct val="20000"/>
        </a:spcBef>
        <a:spcAft>
          <a:spcPct val="0"/>
        </a:spcAft>
        <a:buChar char="–"/>
        <a:defRPr sz="2462">
          <a:solidFill>
            <a:schemeClr val="tx1"/>
          </a:solidFill>
          <a:latin typeface="Arial" charset="0"/>
        </a:defRPr>
      </a:lvl4pPr>
      <a:lvl5pPr marL="2532312" indent="-281368" algn="l" rtl="0" eaLnBrk="0" fontAlgn="base" hangingPunct="0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5pPr>
      <a:lvl6pPr marL="3095047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6pPr>
      <a:lvl7pPr marL="3657783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7pPr>
      <a:lvl8pPr marL="4220519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8pPr>
      <a:lvl9pPr marL="4783254" indent="-281368" algn="l" rtl="0" eaLnBrk="1" fontAlgn="base" hangingPunct="1">
        <a:spcBef>
          <a:spcPct val="20000"/>
        </a:spcBef>
        <a:spcAft>
          <a:spcPct val="0"/>
        </a:spcAft>
        <a:buChar char="»"/>
        <a:defRPr sz="2462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37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72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07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944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79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415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151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886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wmv"/><Relationship Id="rId1" Type="http://schemas.microsoft.com/office/2007/relationships/media" Target="../media/media3.wmv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wmv"/><Relationship Id="rId1" Type="http://schemas.microsoft.com/office/2007/relationships/media" Target="../media/media4.wmv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wmv"/><Relationship Id="rId1" Type="http://schemas.microsoft.com/office/2007/relationships/media" Target="../media/media5.wmv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wmv"/><Relationship Id="rId1" Type="http://schemas.microsoft.com/office/2007/relationships/media" Target="../media/media6.wmv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wmv"/><Relationship Id="rId1" Type="http://schemas.microsoft.com/office/2007/relationships/media" Target="../media/media2.wmv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6029" y="3200400"/>
            <a:ext cx="9395883" cy="790575"/>
          </a:xfrm>
        </p:spPr>
        <p:txBody>
          <a:bodyPr/>
          <a:lstStyle/>
          <a:p>
            <a:pPr marL="0" indent="0" algn="ctr"/>
            <a:r>
              <a:rPr lang="en-GB" sz="2800" dirty="0" smtClean="0"/>
              <a:t>Delegation workshop – Vision 2020 – Tuesday 24/11/2020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516285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leaves for his meeting at the Ministry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86786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5. Etienne driving his car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070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1949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The meeting is delayed by 1,5 hours</a:t>
            </a:r>
          </a:p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accesses Opsys from his iPad in his car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38967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76200"/>
            <a:ext cx="10058400" cy="665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679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14600" y="2401431"/>
            <a:ext cx="7086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starts looking for experts to solve the food security alert issue and asks Anton, HQ Thematic Expert for his advice on the short-listed food safety experts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9760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7. Searching for an Expert(7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755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joins his meeting and starts taking notes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260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07" t="13333" r="14086" b="62223"/>
          <a:stretch/>
        </p:blipFill>
        <p:spPr>
          <a:xfrm>
            <a:off x="0" y="1447800"/>
            <a:ext cx="12122727" cy="32004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7086600" y="2514600"/>
            <a:ext cx="1600200" cy="228600"/>
          </a:xfrm>
          <a:prstGeom prst="rect">
            <a:avLst/>
          </a:prstGeom>
          <a:solidFill>
            <a:srgbClr val="F8F8F8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60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438400" y="2249031"/>
            <a:ext cx="77724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>
                <a:solidFill>
                  <a:schemeClr val="bg1"/>
                </a:solidFill>
              </a:rPr>
              <a:t>Due to the criticality of the food shortage </a:t>
            </a:r>
            <a:r>
              <a:rPr lang="en-GB" sz="2800" dirty="0" smtClean="0">
                <a:solidFill>
                  <a:schemeClr val="bg1"/>
                </a:solidFill>
              </a:rPr>
              <a:t>situation and the suspicion of a crop-eating pest surge, </a:t>
            </a: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sends his meeting notes to Julia, Anton and stakeholders</a:t>
            </a:r>
            <a:endParaRPr lang="en-GB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76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2. Sending Meeting notes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6618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logs in and continues the preparation of his coordination meeting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52278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29000" y="2509759"/>
            <a:ext cx="44196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boards his flight for the </a:t>
            </a:r>
            <a:r>
              <a:rPr lang="en-GB" sz="2800" dirty="0" err="1" smtClean="0">
                <a:solidFill>
                  <a:schemeClr val="bg1"/>
                </a:solidFill>
                <a:latin typeface="+mj-lt"/>
              </a:rPr>
              <a:t>Patamou</a:t>
            </a: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 region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17774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0 .Flight to Patamou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59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743200" y="2451318"/>
            <a:ext cx="64770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He starts preparing his briefing. Opsys automatically extracts for Etienne country- and sector-level information and populates the briefing template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8656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968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334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4. Preparing Briefing template for ministry meeting(1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210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95600" y="2551093"/>
            <a:ext cx="6477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is interrupted by an unexpected … yet not unusual event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68155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5. Chat with Julia (interruption)(1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73175" y="0"/>
            <a:ext cx="9644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184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95600" y="2551093"/>
            <a:ext cx="6477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chemeClr val="bg1"/>
                </a:solidFill>
                <a:latin typeface="+mj-lt"/>
              </a:rPr>
              <a:t>Etienne inserts a reminder in his to-dos and checks his calendar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77382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62" t="2726" r="7409" b="47885"/>
          <a:stretch/>
        </p:blipFill>
        <p:spPr>
          <a:xfrm>
            <a:off x="533400" y="685800"/>
            <a:ext cx="11516591" cy="5334000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 bwMode="auto">
          <a:xfrm>
            <a:off x="1524000" y="4876800"/>
            <a:ext cx="6781800" cy="415874"/>
          </a:xfrm>
          <a:prstGeom prst="ellipse">
            <a:avLst/>
          </a:prstGeom>
          <a:noFill/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CH" sz="1200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806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8</Words>
  <Application>Microsoft Office PowerPoint</Application>
  <PresentationFormat>Widescreen</PresentationFormat>
  <Paragraphs>12</Paragraphs>
  <Slides>21</Slides>
  <Notes>0</Notes>
  <HiddenSlides>0</HiddenSlides>
  <MMClips>6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ourier New</vt:lpstr>
      <vt:lpstr>Gill Sans</vt:lpstr>
      <vt:lpstr>Times</vt:lpstr>
      <vt:lpstr>Verdana</vt:lpstr>
      <vt:lpstr>Wingdings</vt:lpstr>
      <vt:lpstr>blank</vt:lpstr>
      <vt:lpstr>think-cell Slide</vt:lpstr>
      <vt:lpstr>Delegation workshop – Vision 2020 – Tuesday 24/11/202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Template version: 24 February 2015</dc:description>
  <cp:lastModifiedBy/>
  <cp:revision>1</cp:revision>
  <dcterms:created xsi:type="dcterms:W3CDTF">2016-04-22T07:23:39Z</dcterms:created>
  <dcterms:modified xsi:type="dcterms:W3CDTF">2016-11-14T10:15:18Z</dcterms:modified>
  <cp:category>Presentation</cp:category>
</cp:coreProperties>
</file>